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2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8BD-46FD-89E1-C5BD2F4FA5F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8BD-46FD-89E1-C5BD2F4FA5F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BD-46FD-89E1-C5BD2F4FA5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3450015"/>
        <c:axId val="573459135"/>
      </c:lineChart>
      <c:catAx>
        <c:axId val="57345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9135"/>
        <c:crosses val="autoZero"/>
        <c:auto val="1"/>
        <c:lblAlgn val="ctr"/>
        <c:lblOffset val="100"/>
        <c:noMultiLvlLbl val="0"/>
      </c:catAx>
      <c:valAx>
        <c:axId val="57345913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0015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282358-C22E-A39F-760C-86A8168DF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D860769-1E3C-03D3-70E0-16D012A216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860769-1E3C-03D3-70E0-16D012A21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87D2E883-A5D6-C959-6972-28E389A5A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100% Stacked Line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7F09DB4-7563-0D98-45A1-FD9D6258AA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CC435048-2727-20C2-D9FF-C4628E21CF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FBD6C86-835D-01BB-9EC0-2A56746A59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7">
            <a:extLst>
              <a:ext uri="{FF2B5EF4-FFF2-40B4-BE49-F238E27FC236}">
                <a16:creationId xmlns:a16="http://schemas.microsoft.com/office/drawing/2014/main" id="{7C639E56-058F-E8EF-57B2-CC3848520CE3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065345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9</TotalTime>
  <Words>17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100% Stacked Line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45</cp:revision>
  <dcterms:created xsi:type="dcterms:W3CDTF">2025-07-09T10:57:17Z</dcterms:created>
  <dcterms:modified xsi:type="dcterms:W3CDTF">2025-10-22T09:42:37Z</dcterms:modified>
  <cp:category/>
</cp:coreProperties>
</file>